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84" r:id="rId1"/>
  </p:sldMasterIdLst>
  <p:sldIdLst>
    <p:sldId id="1074" r:id="rId2"/>
    <p:sldId id="1075" r:id="rId3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howGuides="1">
      <p:cViewPr varScale="1">
        <p:scale>
          <a:sx n="104" d="100"/>
          <a:sy n="104" d="100"/>
        </p:scale>
        <p:origin x="1824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slide" Target="slides/slide2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288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11199936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192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#›</a:t>
            </a:fld>
            <a:endParaRPr lang="en-GB" sz="900" dirty="0">
              <a:solidFill>
                <a:schemeClr val="bg2"/>
              </a:solidFill>
            </a:endParaRPr>
          </a:p>
        </p:txBody>
      </p:sp>
      <p:cxnSp>
        <p:nvCxnSpPr>
          <p:cNvPr id="49" name="Straight Connector 48"/>
          <p:cNvCxnSpPr/>
          <p:nvPr userDrawn="1"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magine 11" descr="SidelLogoRGB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4836" y="6483578"/>
            <a:ext cx="938152" cy="256947"/>
          </a:xfrm>
          <a:prstGeom prst="rect">
            <a:avLst/>
          </a:prstGeom>
        </p:spPr>
      </p:pic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1378446" y="6471704"/>
            <a:ext cx="5509187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Title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 November 2020</a:t>
            </a:fld>
            <a:r>
              <a:rPr lang="en-GB" sz="900" b="0" i="0" u="none" strike="noStrike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dirty="0">
                <a:solidFill>
                  <a:schemeClr val="accent5"/>
                </a:solidFill>
                <a:latin typeface="+mn-lt"/>
              </a:rPr>
              <a:t>[</a:t>
            </a:r>
            <a:r>
              <a:rPr lang="en-US" dirty="0">
                <a:solidFill>
                  <a:schemeClr val="accent5"/>
                </a:solidFill>
                <a:latin typeface="+mn-lt"/>
              </a:rPr>
              <a:t>Public / Internal / Restricted / Highly confidential]</a:t>
            </a:r>
            <a:endParaRPr lang="en-GB" sz="9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5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F74ACE29-33EA-48B3-A244-37F1E589B156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185958761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88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.png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7.jpe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kt 2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42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6" name="Objekt 2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duce electricity by 20% to 45%</a:t>
            </a:r>
            <a:endParaRPr lang="en-GB" b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51885" y="1424369"/>
            <a:ext cx="7997825" cy="307975"/>
          </a:xfrm>
        </p:spPr>
        <p:txBody>
          <a:bodyPr vert="horz" lIns="0" tIns="0" rIns="0" bIns="0" rtlCol="0">
            <a:spAutoFit/>
          </a:bodyPr>
          <a:lstStyle/>
          <a:p>
            <a:r>
              <a:rPr lang="en-US" dirty="0"/>
              <a:t>ECO oven</a:t>
            </a:r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651885" y="5862257"/>
            <a:ext cx="7972425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alue: Cost Optimisation, Sustainabilit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quipment: Universal blowers except heat-set vers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talogue code: 1021</a:t>
            </a:r>
          </a:p>
        </p:txBody>
      </p:sp>
      <p:sp>
        <p:nvSpPr>
          <p:cNvPr id="6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sz="1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5" name="Group 188"/>
          <p:cNvGraphicFramePr>
            <a:graphicFrameLocks noGrp="1"/>
          </p:cNvGraphicFramePr>
          <p:nvPr>
            <p:extLst/>
          </p:nvPr>
        </p:nvGraphicFramePr>
        <p:xfrm>
          <a:off x="651885" y="1743075"/>
          <a:ext cx="7997390" cy="3990181"/>
        </p:xfrm>
        <a:graphic>
          <a:graphicData uri="http://schemas.openxmlformats.org/drawingml/2006/table">
            <a:tbl>
              <a:tblPr/>
              <a:tblGrid>
                <a:gridCol w="38752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49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877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60000">
                <a:tc>
                  <a:txBody>
                    <a:bodyPr/>
                    <a:lstStyle>
                      <a:lvl1pPr marL="190500" indent="-1905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FF66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MS PGothic" pitchFamily="34" charset="-128"/>
                          <a:cs typeface="+mn-cs"/>
                        </a:rPr>
                        <a:t>VALUE AND BENEFITS</a:t>
                      </a: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4B00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altLang="de-DE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CH" altLang="de-DE" sz="1400" b="1" i="0" u="none" strike="noStrike" cap="none" normalizeH="0" baseline="0" noProof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DESCRIPTION</a:t>
                      </a:r>
                      <a:endParaRPr kumimoji="0" lang="en-GB" altLang="de-DE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2341">
                <a:tc>
                  <a:txBody>
                    <a:bodyPr/>
                    <a:lstStyle>
                      <a:lvl1pPr marL="180975" indent="-180975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1" dirty="0">
                          <a:solidFill>
                            <a:schemeClr val="accent4"/>
                          </a:solidFill>
                        </a:rPr>
                        <a:t>20% to 45% </a:t>
                      </a:r>
                      <a:r>
                        <a:rPr lang="en-US" sz="1200" dirty="0"/>
                        <a:t>less electrical consumption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dirty="0"/>
                        <a:t>Fewer lamps for </a:t>
                      </a:r>
                      <a:r>
                        <a:rPr lang="en-US" sz="1200" b="1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11% </a:t>
                      </a:r>
                      <a:r>
                        <a:rPr lang="en-US" sz="1200" dirty="0"/>
                        <a:t>less installed power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dirty="0"/>
                        <a:t>Sharper heating: Sharp zoning on preform surface and optimized under-neck stretching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dirty="0"/>
                        <a:t>Easier to maintain: Heating module can be serviced on the bench while the machine runs with a spare module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dirty="0"/>
                        <a:t>Ceramics are self-cleaning via pyrolysis effect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6000" marR="0" lvl="0" indent="-126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de-DE" altLang="de-DE" sz="1400" b="0" i="0" u="none" strike="noStrike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ew adjustment block/oven support: Independent setting of neck cooling shield for more stability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coven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module for lamps cooling: The Super Cobra is replaced by a fan dedicated to each module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Heating modules: Only 8 IR lamps, more efficient lamps, ceramic wall and top reflector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eramic oven top reflector, adjustable in height </a:t>
                      </a:r>
                      <a:b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o fit all preform lengths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Wiring: Pre-wired cabinet added to supply power </a:t>
                      </a:r>
                      <a:b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o the fans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ew automation and process: Updated main electrical cabinet (power supply, new functionalities and readjustment of all process sheets)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8" name="Rechteck 11">
            <a:extLst>
              <a:ext uri="{FF2B5EF4-FFF2-40B4-BE49-F238E27FC236}">
                <a16:creationId xmlns:a16="http://schemas.microsoft.com/office/drawing/2014/main" id="{6E3E01E4-0F6B-44FA-8E5C-6E2A7C304313}"/>
              </a:ext>
            </a:extLst>
          </p:cNvPr>
          <p:cNvSpPr/>
          <p:nvPr/>
        </p:nvSpPr>
        <p:spPr>
          <a:xfrm>
            <a:off x="4759900" y="1743075"/>
            <a:ext cx="3889375" cy="400049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/>
          <a:p>
            <a:pPr marL="190500" marR="0" lvl="0" indent="-1905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de-CH" altLang="fr-FR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 charset="0"/>
                <a:cs typeface="Arial" charset="0"/>
              </a:rPr>
              <a:t>DESCRIPTION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D361580-843E-45BF-B6F2-8F2301F05E1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511660" y="4005064"/>
            <a:ext cx="2564514" cy="1620180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9ED0BC7F-EB95-47F1-A1A0-A96B87E88AE1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8384" y="44744"/>
            <a:ext cx="1076437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977722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45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duce electricity by 20% to 45%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55921" y="1415391"/>
            <a:ext cx="7997825" cy="307975"/>
          </a:xfrm>
        </p:spPr>
        <p:txBody>
          <a:bodyPr vert="horz" lIns="0" tIns="0" rIns="0" bIns="0" rtlCol="0">
            <a:spAutoFit/>
          </a:bodyPr>
          <a:lstStyle/>
          <a:p>
            <a:r>
              <a:rPr lang="en-GB" dirty="0"/>
              <a:t>ECO oven</a:t>
            </a:r>
          </a:p>
        </p:txBody>
      </p:sp>
      <p:sp>
        <p:nvSpPr>
          <p:cNvPr id="4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sz="1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14" name="Group 188"/>
          <p:cNvGraphicFramePr>
            <a:graphicFrameLocks noGrp="1"/>
          </p:cNvGraphicFramePr>
          <p:nvPr>
            <p:extLst/>
          </p:nvPr>
        </p:nvGraphicFramePr>
        <p:xfrm>
          <a:off x="651885" y="1743075"/>
          <a:ext cx="7995726" cy="4021800"/>
        </p:xfrm>
        <a:graphic>
          <a:graphicData uri="http://schemas.openxmlformats.org/drawingml/2006/table">
            <a:tbl>
              <a:tblPr/>
              <a:tblGrid>
                <a:gridCol w="38752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6682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85361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60000">
                <a:tc>
                  <a:txBody>
                    <a:bodyPr/>
                    <a:lstStyle>
                      <a:lvl1pPr marL="190500" indent="-1905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CH" altLang="de-DE" sz="1400" b="1" i="0" u="none" strike="noStrike" cap="none" normalizeH="0" baseline="0" noProof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DESCRIPTION</a:t>
                      </a:r>
                      <a:endParaRPr kumimoji="0" lang="en-GB" altLang="de-DE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altLang="de-DE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altLang="de-DE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2341">
                <a:tc gridSpan="3">
                  <a:txBody>
                    <a:bodyPr/>
                    <a:lstStyle>
                      <a:lvl1pPr marL="180975" indent="-180975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1" dirty="0"/>
                        <a:t>New adjustment block/oven support</a:t>
                      </a:r>
                      <a:br>
                        <a:rPr lang="en-US" sz="1200" b="1" dirty="0"/>
                      </a:br>
                      <a:r>
                        <a:rPr lang="en-US" sz="1200" dirty="0"/>
                        <a:t>Independent setting of neck cooling shield for more stability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endParaRPr lang="en-US" sz="1200" dirty="0"/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1" dirty="0" err="1"/>
                        <a:t>Ecoven</a:t>
                      </a:r>
                      <a:r>
                        <a:rPr lang="en-US" sz="1200" b="1" dirty="0"/>
                        <a:t> module for lamps cooling</a:t>
                      </a:r>
                      <a:br>
                        <a:rPr lang="en-US" sz="1200" dirty="0"/>
                      </a:br>
                      <a:r>
                        <a:rPr lang="en-US" sz="1200" dirty="0"/>
                        <a:t>The Super Cobra is replaced by a fan dedicated to each module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endParaRPr lang="en-US" sz="1200" b="1" dirty="0"/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1" dirty="0"/>
                        <a:t>Heating modules</a:t>
                      </a:r>
                      <a:br>
                        <a:rPr lang="en-US" sz="1200" dirty="0"/>
                      </a:br>
                      <a:r>
                        <a:rPr lang="en-US" sz="1200" dirty="0"/>
                        <a:t>Only 8 IR lamps, more efficient lamps, ceramic wall and top reflector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endParaRPr lang="en-US" sz="1200" b="1" dirty="0"/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1" dirty="0"/>
                        <a:t>Ceramic oven top reflector</a:t>
                      </a:r>
                      <a:r>
                        <a:rPr lang="en-US" sz="1200" dirty="0"/>
                        <a:t>, adjustable in height to fit all preform lengths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endParaRPr lang="en-US" sz="1200" b="1" dirty="0"/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1" dirty="0"/>
                        <a:t>Wiring</a:t>
                      </a:r>
                      <a:br>
                        <a:rPr lang="en-US" sz="1200" dirty="0"/>
                      </a:br>
                      <a:r>
                        <a:rPr lang="en-US" sz="1200" dirty="0"/>
                        <a:t>Pre-wired cabinet added to supply power to the fans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endParaRPr lang="en-US" sz="1200" b="1" dirty="0"/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1" dirty="0"/>
                        <a:t>New automation and process</a:t>
                      </a:r>
                      <a:br>
                        <a:rPr lang="en-US" sz="1200" dirty="0"/>
                      </a:br>
                      <a:r>
                        <a:rPr lang="en-US" sz="1200" dirty="0"/>
                        <a:t>Updated main electrical cabinet </a:t>
                      </a:r>
                      <a:br>
                        <a:rPr lang="en-US" sz="1200" dirty="0"/>
                      </a:br>
                      <a:r>
                        <a:rPr lang="en-US" sz="1200" dirty="0"/>
                        <a:t>(power supply, new functionalities and readjustment of all process sheets)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26000" marR="0" lvl="0" indent="-126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de-DE" altLang="de-DE" sz="1400" b="0" i="0" u="none" strike="noStrike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pSp>
        <p:nvGrpSpPr>
          <p:cNvPr id="15" name="Gruppieren 14"/>
          <p:cNvGrpSpPr/>
          <p:nvPr/>
        </p:nvGrpSpPr>
        <p:grpSpPr>
          <a:xfrm>
            <a:off x="7524328" y="2215917"/>
            <a:ext cx="884820" cy="3409327"/>
            <a:chOff x="7321550" y="1842293"/>
            <a:chExt cx="1153814" cy="4445795"/>
          </a:xfrm>
        </p:grpSpPr>
        <p:pic>
          <p:nvPicPr>
            <p:cNvPr id="6" name="Picture 23" descr="1021"/>
            <p:cNvPicPr>
              <a:picLocks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776" t="3406" r="83820" b="7014"/>
            <a:stretch/>
          </p:blipFill>
          <p:spPr bwMode="gray">
            <a:xfrm>
              <a:off x="7321550" y="1842293"/>
              <a:ext cx="1153814" cy="7096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" name="Picture 23" descr="1021"/>
            <p:cNvPicPr>
              <a:picLocks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0330" t="3406" r="66266" b="7014"/>
            <a:stretch/>
          </p:blipFill>
          <p:spPr bwMode="gray">
            <a:xfrm>
              <a:off x="7321550" y="2589529"/>
              <a:ext cx="1153814" cy="7096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" name="Picture 23" descr="1021"/>
            <p:cNvPicPr>
              <a:picLocks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8552" t="14276" r="51150" b="16306"/>
            <a:stretch/>
          </p:blipFill>
          <p:spPr bwMode="gray">
            <a:xfrm>
              <a:off x="7321550" y="3336765"/>
              <a:ext cx="1153814" cy="7096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" name="Picture 23" descr="1021"/>
            <p:cNvPicPr>
              <a:picLocks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5411" t="15338" r="33525" b="10078"/>
            <a:stretch/>
          </p:blipFill>
          <p:spPr bwMode="gray">
            <a:xfrm>
              <a:off x="7321550" y="4084001"/>
              <a:ext cx="1153814" cy="7096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" name="Picture 23" descr="1021"/>
            <p:cNvPicPr>
              <a:picLocks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3428" t="14276" r="16274" b="16306"/>
            <a:stretch/>
          </p:blipFill>
          <p:spPr bwMode="gray">
            <a:xfrm>
              <a:off x="7321550" y="4831237"/>
              <a:ext cx="1153814" cy="7096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" name="Picture 23" descr="1021"/>
            <p:cNvPicPr>
              <a:picLocks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8396" t="14276" r="1306" b="16306"/>
            <a:stretch/>
          </p:blipFill>
          <p:spPr bwMode="gray">
            <a:xfrm>
              <a:off x="7321550" y="5578475"/>
              <a:ext cx="1153814" cy="7096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6" name="Text Placeholder 2"/>
          <p:cNvSpPr txBox="1">
            <a:spLocks/>
          </p:cNvSpPr>
          <p:nvPr/>
        </p:nvSpPr>
        <p:spPr>
          <a:xfrm>
            <a:off x="651885" y="5862257"/>
            <a:ext cx="7972425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alue: Cost Optimisation, Sustainabilit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quipment: Universal blowers except heat-set vers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talogue code: 1021</a:t>
            </a:r>
          </a:p>
        </p:txBody>
      </p:sp>
      <p:sp>
        <p:nvSpPr>
          <p:cNvPr id="17" name="Rechteck 11">
            <a:extLst>
              <a:ext uri="{FF2B5EF4-FFF2-40B4-BE49-F238E27FC236}">
                <a16:creationId xmlns:a16="http://schemas.microsoft.com/office/drawing/2014/main" id="{5501DB74-9E8C-49BA-BD89-96DAC4E3C675}"/>
              </a:ext>
            </a:extLst>
          </p:cNvPr>
          <p:cNvSpPr/>
          <p:nvPr/>
        </p:nvSpPr>
        <p:spPr>
          <a:xfrm>
            <a:off x="647700" y="1743075"/>
            <a:ext cx="8001575" cy="400049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/>
          <a:p>
            <a:pPr marL="190500" marR="0" lvl="0" indent="-1905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de-CH" altLang="fr-FR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 charset="0"/>
                <a:cs typeface="Arial" charset="0"/>
              </a:rPr>
              <a:t>DESCRIPTION</a:t>
            </a:r>
          </a:p>
        </p:txBody>
      </p:sp>
      <p:pic>
        <p:nvPicPr>
          <p:cNvPr id="18" name="Image 17">
            <a:extLst>
              <a:ext uri="{FF2B5EF4-FFF2-40B4-BE49-F238E27FC236}">
                <a16:creationId xmlns:a16="http://schemas.microsoft.com/office/drawing/2014/main" id="{AB0BD1E8-4713-4F44-90BC-519E5570DFB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8384" y="44744"/>
            <a:ext cx="1076437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00790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IOMT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AD38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N-modele-new.potx" id="{63F86F24-1EED-41D3-90E6-59487835C019}" vid="{E4DD9F58-C7BE-4ED2-AAEB-88540AD62E8F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</TotalTime>
  <Words>180</Words>
  <Application>Microsoft Office PowerPoint</Application>
  <PresentationFormat>On-screen Show (4:3)</PresentationFormat>
  <Paragraphs>37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7" baseType="lpstr">
      <vt:lpstr>MS PGothic</vt:lpstr>
      <vt:lpstr>Arial</vt:lpstr>
      <vt:lpstr>Wingdings</vt:lpstr>
      <vt:lpstr>LIOMT</vt:lpstr>
      <vt:lpstr>think-cell Folie</vt:lpstr>
      <vt:lpstr>Reduce electricity by 20% to 45%</vt:lpstr>
      <vt:lpstr>Reduce electricity by 20% to 45%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mprove production performance</dc:title>
  <dc:creator>Gouriou, Lydie</dc:creator>
  <cp:lastModifiedBy>Sorega, Dan</cp:lastModifiedBy>
  <cp:revision>45</cp:revision>
  <dcterms:created xsi:type="dcterms:W3CDTF">2014-05-22T13:23:46Z</dcterms:created>
  <dcterms:modified xsi:type="dcterms:W3CDTF">2020-11-20T10:18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4480757-a570-4f64-84e7-c5b3ffe9d573_Enabled">
    <vt:lpwstr>True</vt:lpwstr>
  </property>
  <property fmtid="{D5CDD505-2E9C-101B-9397-08002B2CF9AE}" pid="3" name="MSIP_Label_94480757-a570-4f64-84e7-c5b3ffe9d573_SiteId">
    <vt:lpwstr>2390cbd1-e663-4321-bc93-ba298637ce52</vt:lpwstr>
  </property>
  <property fmtid="{D5CDD505-2E9C-101B-9397-08002B2CF9AE}" pid="4" name="MSIP_Label_94480757-a570-4f64-84e7-c5b3ffe9d573_Owner">
    <vt:lpwstr>107200@sidel.com</vt:lpwstr>
  </property>
  <property fmtid="{D5CDD505-2E9C-101B-9397-08002B2CF9AE}" pid="5" name="MSIP_Label_94480757-a570-4f64-84e7-c5b3ffe9d573_SetDate">
    <vt:lpwstr>2019-10-10T13:10:21.3535805Z</vt:lpwstr>
  </property>
  <property fmtid="{D5CDD505-2E9C-101B-9397-08002B2CF9AE}" pid="6" name="MSIP_Label_94480757-a570-4f64-84e7-c5b3ffe9d573_Name">
    <vt:lpwstr>General</vt:lpwstr>
  </property>
  <property fmtid="{D5CDD505-2E9C-101B-9397-08002B2CF9AE}" pid="7" name="MSIP_Label_94480757-a570-4f64-84e7-c5b3ffe9d573_Application">
    <vt:lpwstr>Microsoft Azure Information Protection</vt:lpwstr>
  </property>
  <property fmtid="{D5CDD505-2E9C-101B-9397-08002B2CF9AE}" pid="8" name="MSIP_Label_94480757-a570-4f64-84e7-c5b3ffe9d573_Extended_MSFT_Method">
    <vt:lpwstr>Automatic</vt:lpwstr>
  </property>
  <property fmtid="{D5CDD505-2E9C-101B-9397-08002B2CF9AE}" pid="9" name="MSIP_Label_e35bb0a3-90cf-41a8-939e-500b35438edf_Enabled">
    <vt:lpwstr>True</vt:lpwstr>
  </property>
  <property fmtid="{D5CDD505-2E9C-101B-9397-08002B2CF9AE}" pid="10" name="MSIP_Label_e35bb0a3-90cf-41a8-939e-500b35438edf_SiteId">
    <vt:lpwstr>2390cbd1-e663-4321-bc93-ba298637ce52</vt:lpwstr>
  </property>
  <property fmtid="{D5CDD505-2E9C-101B-9397-08002B2CF9AE}" pid="11" name="MSIP_Label_e35bb0a3-90cf-41a8-939e-500b35438edf_Owner">
    <vt:lpwstr>107200@sidel.com</vt:lpwstr>
  </property>
  <property fmtid="{D5CDD505-2E9C-101B-9397-08002B2CF9AE}" pid="12" name="MSIP_Label_e35bb0a3-90cf-41a8-939e-500b35438edf_SetDate">
    <vt:lpwstr>2018-08-02T16:06:57.3147582+02:00</vt:lpwstr>
  </property>
  <property fmtid="{D5CDD505-2E9C-101B-9397-08002B2CF9AE}" pid="13" name="MSIP_Label_e35bb0a3-90cf-41a8-939e-500b35438edf_Name">
    <vt:lpwstr>Sidel-Confidential</vt:lpwstr>
  </property>
  <property fmtid="{D5CDD505-2E9C-101B-9397-08002B2CF9AE}" pid="14" name="MSIP_Label_e35bb0a3-90cf-41a8-939e-500b35438edf_Application">
    <vt:lpwstr>Microsoft Azure Information Protection</vt:lpwstr>
  </property>
  <property fmtid="{D5CDD505-2E9C-101B-9397-08002B2CF9AE}" pid="15" name="MSIP_Label_e35bb0a3-90cf-41a8-939e-500b35438edf_Extended_MSFT_Method">
    <vt:lpwstr>Automatic</vt:lpwstr>
  </property>
  <property fmtid="{D5CDD505-2E9C-101B-9397-08002B2CF9AE}" pid="16" name="MSIP_Label_06263584-a2fa-494a-b6ac-a3eeadb86bd0_Enabled">
    <vt:lpwstr>True</vt:lpwstr>
  </property>
  <property fmtid="{D5CDD505-2E9C-101B-9397-08002B2CF9AE}" pid="17" name="MSIP_Label_06263584-a2fa-494a-b6ac-a3eeadb86bd0_SiteId">
    <vt:lpwstr>2390cbd1-e663-4321-bc93-ba298637ce52</vt:lpwstr>
  </property>
  <property fmtid="{D5CDD505-2E9C-101B-9397-08002B2CF9AE}" pid="18" name="MSIP_Label_06263584-a2fa-494a-b6ac-a3eeadb86bd0_Owner">
    <vt:lpwstr>107200@sidel.com</vt:lpwstr>
  </property>
  <property fmtid="{D5CDD505-2E9C-101B-9397-08002B2CF9AE}" pid="19" name="MSIP_Label_06263584-a2fa-494a-b6ac-a3eeadb86bd0_SetDate">
    <vt:lpwstr>2018-08-02T16:06:57.3303582+02:00</vt:lpwstr>
  </property>
  <property fmtid="{D5CDD505-2E9C-101B-9397-08002B2CF9AE}" pid="20" name="MSIP_Label_06263584-a2fa-494a-b6ac-a3eeadb86bd0_Name">
    <vt:lpwstr>Internal</vt:lpwstr>
  </property>
  <property fmtid="{D5CDD505-2E9C-101B-9397-08002B2CF9AE}" pid="21" name="MSIP_Label_06263584-a2fa-494a-b6ac-a3eeadb86bd0_Application">
    <vt:lpwstr>Microsoft Azure Information Protection</vt:lpwstr>
  </property>
  <property fmtid="{D5CDD505-2E9C-101B-9397-08002B2CF9AE}" pid="22" name="MSIP_Label_06263584-a2fa-494a-b6ac-a3eeadb86bd0_Extended_MSFT_Method">
    <vt:lpwstr>Automatic</vt:lpwstr>
  </property>
  <property fmtid="{D5CDD505-2E9C-101B-9397-08002B2CF9AE}" pid="23" name="Sensitivity">
    <vt:lpwstr>General Sidel-Confidential Internal</vt:lpwstr>
  </property>
</Properties>
</file>